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746" r:id="rId1"/>
    <p:sldMasterId id="2147483713" r:id="rId2"/>
    <p:sldMasterId id="2147483719" r:id="rId3"/>
    <p:sldMasterId id="2147483749" r:id="rId4"/>
    <p:sldMasterId id="2147483760" r:id="rId5"/>
    <p:sldMasterId id="2147483763" r:id="rId6"/>
    <p:sldMasterId id="2147483766" r:id="rId7"/>
    <p:sldMasterId id="2147483769" r:id="rId8"/>
    <p:sldMasterId id="2147483772" r:id="rId9"/>
    <p:sldMasterId id="2147483780" r:id="rId10"/>
  </p:sldMasterIdLst>
  <p:notesMasterIdLst>
    <p:notesMasterId r:id="rId15"/>
  </p:notesMasterIdLst>
  <p:handoutMasterIdLst>
    <p:handoutMasterId r:id="rId16"/>
  </p:handoutMasterIdLst>
  <p:sldIdLst>
    <p:sldId id="2192" r:id="rId11"/>
    <p:sldId id="2193" r:id="rId12"/>
    <p:sldId id="2194" r:id="rId13"/>
    <p:sldId id="2195" r:id="rId14"/>
  </p:sldIdLst>
  <p:sldSz cx="9144000" cy="5143500" type="screen16x9"/>
  <p:notesSz cx="6794500" cy="9906000"/>
  <p:custDataLst>
    <p:tags r:id="rId17"/>
  </p:custDataLst>
  <p:defaultTextStyle>
    <a:defPPr>
      <a:defRPr lang="zh-CN"/>
    </a:defPPr>
    <a:lvl1pPr marL="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E383627-18D0-4FD4-B0C4-A69F5936D25D}">
          <p14:sldIdLst>
            <p14:sldId id="2192"/>
            <p14:sldId id="2193"/>
            <p14:sldId id="2194"/>
            <p14:sldId id="219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82">
          <p15:clr>
            <a:srgbClr val="A4A3A4"/>
          </p15:clr>
        </p15:guide>
        <p15:guide id="2" pos="2898">
          <p15:clr>
            <a:srgbClr val="A4A3A4"/>
          </p15:clr>
        </p15:guide>
        <p15:guide id="3" orient="horz" pos="163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D9D9D9"/>
    <a:srgbClr val="E9EDF4"/>
    <a:srgbClr val="99CCFF"/>
    <a:srgbClr val="1F497D"/>
    <a:srgbClr val="00235A"/>
    <a:srgbClr val="B70000"/>
    <a:srgbClr val="002060"/>
    <a:srgbClr val="C0504D"/>
    <a:srgbClr val="8E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77" autoAdjust="0"/>
    <p:restoredTop sz="98246" autoAdjust="0"/>
  </p:normalViewPr>
  <p:slideViewPr>
    <p:cSldViewPr>
      <p:cViewPr varScale="1">
        <p:scale>
          <a:sx n="89" d="100"/>
          <a:sy n="89" d="100"/>
        </p:scale>
        <p:origin x="-572" y="-64"/>
      </p:cViewPr>
      <p:guideLst>
        <p:guide orient="horz" pos="2182"/>
        <p:guide orient="horz" pos="1637"/>
        <p:guide pos="28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4014" y="-96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4336" cy="495697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408720"/>
            <a:ext cx="2944336" cy="495696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48579" y="9408720"/>
            <a:ext cx="2944336" cy="495696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0AED303E-F69C-487C-B61A-1FC27B27A5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591549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4283" cy="495300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48646" y="5"/>
            <a:ext cx="2944283" cy="495300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r">
              <a:defRPr sz="1200"/>
            </a:lvl1pPr>
          </a:lstStyle>
          <a:p>
            <a:fld id="{440473B6-8AB2-4DD0-823A-C576FA66E496}" type="datetimeFigureOut">
              <a:rPr lang="zh-CN" altLang="en-US" smtClean="0"/>
              <a:t>2020/5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1363"/>
            <a:ext cx="6610350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5" tIns="45618" rIns="91235" bIns="4561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451" y="4705349"/>
            <a:ext cx="5435600" cy="4457700"/>
          </a:xfrm>
          <a:prstGeom prst="rect">
            <a:avLst/>
          </a:prstGeom>
        </p:spPr>
        <p:txBody>
          <a:bodyPr vert="horz" lIns="91235" tIns="45618" rIns="91235" bIns="4561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3" y="9408983"/>
            <a:ext cx="2944283" cy="495300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48646" y="9408983"/>
            <a:ext cx="2944283" cy="495300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7120A554-7C36-4AFC-A0B8-D2D5EE594CA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92493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7.gi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930650"/>
            <a:ext cx="7772400" cy="1102519"/>
          </a:xfrm>
          <a:prstGeom prst="rect">
            <a:avLst/>
          </a:prstGeom>
        </p:spPr>
        <p:txBody>
          <a:bodyPr/>
          <a:lstStyle>
            <a:lvl1pPr algn="ctr">
              <a:defRPr sz="42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201516"/>
            <a:ext cx="6400800" cy="13144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zh-CN" altLang="en-US" sz="2400" b="0" dirty="0">
                <a:solidFill>
                  <a:srgbClr val="002C6C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5595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1772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8564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9985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54952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650" y="590551"/>
            <a:ext cx="7715250" cy="435769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55651" y="1091805"/>
            <a:ext cx="7704138" cy="3477815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  <a:lvl2pPr>
              <a:defRPr>
                <a:ea typeface="微软雅黑" pitchFamily="34" charset="-122"/>
              </a:defRPr>
            </a:lvl2pPr>
            <a:lvl3pPr>
              <a:defRPr>
                <a:ea typeface="微软雅黑" pitchFamily="34" charset="-122"/>
              </a:defRPr>
            </a:lvl3pPr>
            <a:lvl4pPr>
              <a:defRPr>
                <a:ea typeface="微软雅黑" pitchFamily="34" charset="-122"/>
              </a:defRPr>
            </a:lvl4pPr>
            <a:lvl5pPr>
              <a:defRPr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xfrm>
            <a:off x="6296025" y="4773217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746500" y="4782742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prstClr val="black"/>
                </a:solidFill>
              </a:rPr>
              <a:t>第</a:t>
            </a:r>
            <a:fld id="{7167E822-2EBE-410B-9927-99A140AE43C5}" type="slidenum">
              <a:rPr lang="zh-CN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r>
              <a:rPr lang="zh-CN" altLang="en-US">
                <a:solidFill>
                  <a:prstClr val="black"/>
                </a:solidFill>
              </a:rPr>
              <a:t>页</a:t>
            </a:r>
            <a:r>
              <a:rPr lang="en-US">
                <a:solidFill>
                  <a:prstClr val="black"/>
                </a:solidFill>
              </a:rPr>
              <a:t>/</a:t>
            </a:r>
            <a:r>
              <a:rPr lang="zh-CN" altLang="en-US">
                <a:solidFill>
                  <a:prstClr val="black"/>
                </a:solidFill>
              </a:rPr>
              <a:t>共</a:t>
            </a:r>
            <a:r>
              <a:rPr lang="en-US">
                <a:solidFill>
                  <a:prstClr val="black"/>
                </a:solidFill>
              </a:rPr>
              <a:t>54</a:t>
            </a:r>
            <a:r>
              <a:rPr lang="zh-CN" altLang="en-US">
                <a:solidFill>
                  <a:prstClr val="black"/>
                </a:solidFill>
              </a:rPr>
              <a:t>页</a:t>
            </a:r>
          </a:p>
        </p:txBody>
      </p:sp>
    </p:spTree>
    <p:extLst>
      <p:ext uri="{BB962C8B-B14F-4D97-AF65-F5344CB8AC3E}">
        <p14:creationId xmlns:p14="http://schemas.microsoft.com/office/powerpoint/2010/main" val="1782977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108001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61663" y="576002"/>
            <a:ext cx="8834964" cy="1492250"/>
          </a:xfrm>
          <a:prstGeom prst="rect">
            <a:avLst/>
          </a:prstGeom>
        </p:spPr>
        <p:txBody>
          <a:bodyPr lIns="81750" tIns="40874" rIns="81750" bIns="40874"/>
          <a:lstStyle>
            <a:lvl1pPr marL="318627" indent="-31862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66" indent="-263094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88" indent="-212375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384" indent="-25546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553" indent="-25546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466285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232832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8597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2260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22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26024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85208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2639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686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5368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904579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0125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475358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94430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703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53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16689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5323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文本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383917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3031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9"/>
          <p:cNvSpPr>
            <a:spLocks noGrp="1"/>
          </p:cNvSpPr>
          <p:nvPr>
            <p:ph sz="quarter" idx="13"/>
          </p:nvPr>
        </p:nvSpPr>
        <p:spPr>
          <a:xfrm>
            <a:off x="416185" y="563447"/>
            <a:ext cx="8311640" cy="4163553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buFontTx/>
              <a:buBlip>
                <a:blip r:embed="rId2"/>
              </a:buBlip>
              <a:defRPr kumimoji="1" lang="zh-CN" altLang="en-US" sz="19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>
              <a:buFontTx/>
              <a:buBlip>
                <a:blip r:embed="rId3"/>
              </a:buBlip>
              <a:defRPr kumimoji="1" lang="zh-CN" altLang="en-US" sz="17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2pPr>
            <a:lvl3pPr>
              <a:buFontTx/>
              <a:buBlip>
                <a:blip r:embed="rId4"/>
              </a:buBlip>
              <a:defRPr kumimoji="1" lang="zh-CN" altLang="en-US" sz="16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3pPr>
            <a:lvl4pPr>
              <a:defRPr kumimoji="1" lang="zh-CN" altLang="en-US" sz="14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4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16182" y="123480"/>
            <a:ext cx="5407592" cy="308206"/>
          </a:xfrm>
          <a:prstGeom prst="rect">
            <a:avLst/>
          </a:prstGeom>
        </p:spPr>
        <p:txBody>
          <a:bodyPr lIns="87249" tIns="43625" rIns="87249" bIns="43625"/>
          <a:lstStyle>
            <a:lvl1pPr algn="l">
              <a:defRPr sz="2100" b="1">
                <a:solidFill>
                  <a:srgbClr val="660039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4"/>
          <p:cNvSpPr>
            <a:spLocks noGrp="1"/>
          </p:cNvSpPr>
          <p:nvPr>
            <p:ph type="sldNum" sz="quarter" idx="14"/>
          </p:nvPr>
        </p:nvSpPr>
        <p:spPr>
          <a:xfrm>
            <a:off x="6593292" y="4767702"/>
            <a:ext cx="2371198" cy="375798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defRPr/>
            </a:lvl1pPr>
          </a:lstStyle>
          <a:p>
            <a:pPr defTabSz="914190">
              <a:defRPr/>
            </a:pPr>
            <a:r>
              <a:rPr lang="en-US" altLang="zh-CN" dirty="0">
                <a:solidFill>
                  <a:srgbClr val="FFFFFF"/>
                </a:solidFill>
              </a:rPr>
              <a:t>XX</a:t>
            </a:r>
            <a:r>
              <a:rPr lang="zh-CN" altLang="en-US" dirty="0">
                <a:solidFill>
                  <a:srgbClr val="FFFFFF"/>
                </a:solidFill>
              </a:rPr>
              <a:t>公司 </a:t>
            </a:r>
            <a:r>
              <a:rPr lang="en-US" altLang="zh-CN" dirty="0">
                <a:solidFill>
                  <a:srgbClr val="FFFFFF"/>
                </a:solidFill>
              </a:rPr>
              <a:t>2015</a:t>
            </a:r>
            <a:r>
              <a:rPr lang="zh-CN" altLang="en-US" dirty="0">
                <a:solidFill>
                  <a:srgbClr val="FFFFFF"/>
                </a:solidFill>
              </a:rPr>
              <a:t>年</a:t>
            </a:r>
            <a:r>
              <a:rPr lang="en-US" altLang="zh-CN" dirty="0">
                <a:solidFill>
                  <a:srgbClr val="FFFFFF"/>
                </a:solidFill>
              </a:rPr>
              <a:t>12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28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4190" y="51470"/>
            <a:ext cx="7718050" cy="382569"/>
          </a:xfrm>
          <a:prstGeom prst="rect">
            <a:avLst/>
          </a:prstGeom>
        </p:spPr>
        <p:txBody>
          <a:bodyPr lIns="81740" tIns="40869" rIns="81740" bIns="40869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354" y="627273"/>
            <a:ext cx="8210786" cy="4104173"/>
          </a:xfrm>
          <a:prstGeom prst="rect">
            <a:avLst/>
          </a:prstGeom>
        </p:spPr>
        <p:txBody>
          <a:bodyPr lIns="81740" tIns="40869" rIns="81740" bIns="40869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8757016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5"/>
            <a:ext cx="7772400" cy="1102519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8397" y="4683451"/>
            <a:ext cx="2132206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656" y="4683451"/>
            <a:ext cx="2896695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8503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585" y="4767714"/>
            <a:ext cx="2896867" cy="2732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190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2567" y="4767714"/>
            <a:ext cx="2133962" cy="273211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914190">
              <a:defRPr/>
            </a:pPr>
            <a:fld id="{10413790-DA41-421A-AE39-C50414B092DE}" type="slidenum">
              <a:rPr lang="zh-CN" altLang="en-US" smtClean="0">
                <a:solidFill>
                  <a:srgbClr val="FFFFFF"/>
                </a:solidFill>
              </a:rPr>
              <a:pPr defTabSz="914190">
                <a:defRPr/>
              </a:pPr>
              <a:t>‹#›</a:t>
            </a:fld>
            <a:endParaRPr lang="zh-CN" alt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9880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66169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732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161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927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96439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61505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376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11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tags" Target="../tags/tag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3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1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5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6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oleObject" Target="../embeddings/oleObject6.bin"/><Relationship Id="rId5" Type="http://schemas.openxmlformats.org/officeDocument/2006/relationships/tags" Target="../tags/tag7.xml"/><Relationship Id="rId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11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7" Type="http://schemas.openxmlformats.org/officeDocument/2006/relationships/image" Target="../media/image1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tags" Target="../tags/tag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3.jpeg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6050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0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405" y="4683449"/>
            <a:ext cx="2132206" cy="358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536" tIns="42269" rIns="84536" bIns="42269" numCol="1" anchor="t" anchorCtr="0" compatLnSpc="1">
            <a:prstTxWarp prst="textNoShape">
              <a:avLst/>
            </a:prstTxWarp>
          </a:bodyPr>
          <a:lstStyle>
            <a:lvl1pPr algn="l">
              <a:defRPr>
                <a:latin typeface="黑体" pitchFamily="2" charset="-122"/>
                <a:ea typeface="黑体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 descr="一汽蓝条.png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491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79512" y="135849"/>
            <a:ext cx="3887876" cy="1219931"/>
          </a:xfrm>
          <a:prstGeom prst="rect">
            <a:avLst/>
          </a:prstGeom>
        </p:spPr>
      </p:pic>
      <p:sp>
        <p:nvSpPr>
          <p:cNvPr id="4" name="文本框 3"/>
          <p:cNvSpPr txBox="1"/>
          <p:nvPr userDrawn="1"/>
        </p:nvSpPr>
        <p:spPr>
          <a:xfrm>
            <a:off x="5796136" y="627534"/>
            <a:ext cx="31983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宜居    宜业    宜游</a:t>
            </a:r>
          </a:p>
        </p:txBody>
      </p:sp>
    </p:spTree>
    <p:extLst>
      <p:ext uri="{BB962C8B-B14F-4D97-AF65-F5344CB8AC3E}">
        <p14:creationId xmlns:p14="http://schemas.microsoft.com/office/powerpoint/2010/main" val="24338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hdr="0" ftr="0" dt="0"/>
  <p:txStyles>
    <p:titleStyle>
      <a:lvl1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2pPr>
      <a:lvl3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3pPr>
      <a:lvl4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4pPr>
      <a:lvl5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5pPr>
      <a:lvl6pPr marL="456531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6pPr>
      <a:lvl7pPr marL="913064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7pPr>
      <a:lvl8pPr marL="1369595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8pPr>
      <a:lvl9pPr marL="1826128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9pPr>
    </p:titleStyle>
    <p:bodyStyle>
      <a:lvl1pPr marL="317036" indent="-317036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9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384" indent="-263141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0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318" indent="-212412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74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2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2216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748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5281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813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8345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1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64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95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2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6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19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2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5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4177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7566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9606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2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668344" y="52491"/>
            <a:ext cx="1257404" cy="394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7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8755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28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273252" y="4937568"/>
            <a:ext cx="783170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第</a:t>
            </a:r>
            <a:fld id="{D551AF74-0F38-4D4F-AB9D-27C8216154F8}" type="slidenum">
              <a:rPr lang="zh-CN" altLang="en-US" sz="800" smtClean="0">
                <a:solidFill>
                  <a:prstClr val="black"/>
                </a:solidFill>
                <a:latin typeface="微软雅黑" panose="020B0503020204020204" pitchFamily="34" charset="-122"/>
              </a:rPr>
              <a:pPr defTabSz="816296"/>
              <a:t>‹#›</a:t>
            </a:fld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页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0235" y="4937569"/>
            <a:ext cx="554171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财务部</a:t>
            </a:r>
          </a:p>
        </p:txBody>
      </p:sp>
      <p:sp>
        <p:nvSpPr>
          <p:cNvPr id="8" name="矩形 7"/>
          <p:cNvSpPr/>
          <p:nvPr/>
        </p:nvSpPr>
        <p:spPr bwMode="auto">
          <a:xfrm>
            <a:off x="249077" y="524116"/>
            <a:ext cx="8667141" cy="3648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71561" tIns="35780" rIns="71561" bIns="35780" numCol="1" rtlCol="0" anchor="t" anchorCtr="0" compatLnSpc="1"/>
          <a:lstStyle/>
          <a:p>
            <a:pPr defTabSz="815994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60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417" y="0"/>
            <a:ext cx="1871461" cy="523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945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sldNum="0" hdr="0" ftr="0" dt="0"/>
  <p:txStyles>
    <p:titleStyle>
      <a:lvl1pPr algn="ctr" defTabSz="715609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54" indent="-268354" algn="l" defTabSz="715609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33" indent="-223628" algn="l" defTabSz="715609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512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317" indent="-178902" algn="l" defTabSz="715609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121" indent="-178902" algn="l" defTabSz="715609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926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731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535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340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805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60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41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21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902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82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633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43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13798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8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649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76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r" defTabSz="846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DE838B-0F12-4B31-B7D1-2D0F6538ECB8}" type="slidenum">
              <a:rPr kumimoji="0" lang="en-US" altLang="zh-CN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r" defTabSz="8461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002C6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0961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5309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831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597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177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7075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8072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7" descr="未标题-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1523" y="535209"/>
            <a:ext cx="8668217" cy="2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6" y="4084741"/>
            <a:ext cx="1581237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8"/>
            <a:ext cx="1584224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8657088" y="4938007"/>
            <a:ext cx="562342" cy="24894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2F4D71"/>
            </a:prstShdw>
          </a:effectLst>
        </p:spPr>
        <p:txBody>
          <a:bodyPr wrap="none" lIns="83189" tIns="43259" rIns="83189" bIns="43259" anchor="ctr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defRPr/>
            </a:pPr>
            <a:fld id="{B2DE838B-0F12-4B31-B7D1-2D0F6538ECB8}" type="slidenum">
              <a:rPr lang="en-US" altLang="zh-CN" sz="1050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eaLnBrk="1" hangingPunct="1">
                <a:defRPr/>
              </a:pPr>
              <a:t>‹#›</a:t>
            </a:fld>
            <a:r>
              <a:rPr lang="en-US" altLang="zh-CN" sz="105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31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6516217" y="51470"/>
            <a:ext cx="2325206" cy="414046"/>
            <a:chOff x="6660232" y="188640"/>
            <a:chExt cx="2021918" cy="360040"/>
          </a:xfrm>
        </p:grpSpPr>
        <p:pic>
          <p:nvPicPr>
            <p:cNvPr id="10" name="图片 8" descr="标识与中国一汽组合横版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59" t="18822" r="25623" b="70786"/>
            <a:stretch>
              <a:fillRect/>
            </a:stretch>
          </p:blipFill>
          <p:spPr bwMode="auto">
            <a:xfrm>
              <a:off x="7164288" y="192506"/>
              <a:ext cx="1517862" cy="35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6660232" y="188640"/>
              <a:ext cx="1008112" cy="3600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 anchorCtr="0">
              <a:noAutofit/>
            </a:bodyPr>
            <a:lstStyle/>
            <a:p>
              <a:pPr defTabSz="914190"/>
              <a:endParaRPr lang="zh-CN" altLang="en-US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234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</p:sldLayoutIdLst>
  <p:hf hdr="0" ftr="0" dt="0"/>
  <p:txStyles>
    <p:titleStyle>
      <a:lvl1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2pPr>
      <a:lvl3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3pPr>
      <a:lvl4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4pPr>
      <a:lvl5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5pPr>
      <a:lvl6pPr marL="456440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6pPr>
      <a:lvl7pPr marL="912885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7pPr>
      <a:lvl8pPr marL="1369329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8pPr>
      <a:lvl9pPr marL="1825772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9pPr>
    </p:titleStyle>
    <p:bodyStyle>
      <a:lvl1pPr marL="316974" indent="-316974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250" indent="-263092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2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109" indent="-212373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3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684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4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1843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287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4730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175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7616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4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85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29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72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1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54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97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54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9D4BBA11-B741-4D54-B3B0-7DDDDB882E77}"/>
              </a:ext>
            </a:extLst>
          </p:cNvPr>
          <p:cNvSpPr txBox="1"/>
          <p:nvPr/>
        </p:nvSpPr>
        <p:spPr>
          <a:xfrm>
            <a:off x="676126" y="915566"/>
            <a:ext cx="784887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长春</a:t>
            </a:r>
            <a:r>
              <a:rPr lang="zh-CN" altLang="zh-CN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红旗</a:t>
            </a:r>
            <a:r>
              <a:rPr lang="zh-CN" altLang="en-US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国际</a:t>
            </a:r>
            <a:r>
              <a:rPr lang="zh-CN" altLang="zh-CN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小镇公司</a:t>
            </a:r>
            <a:endParaRPr lang="en-US" altLang="zh-CN" sz="36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部门</a:t>
            </a:r>
            <a:r>
              <a:rPr lang="en-US" altLang="zh-CN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+</a:t>
            </a:r>
            <a:r>
              <a:rPr lang="zh-CN" altLang="en-US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岗位</a:t>
            </a:r>
            <a:r>
              <a:rPr lang="zh-CN" altLang="en-US" sz="36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名称应聘</a:t>
            </a:r>
            <a:r>
              <a:rPr lang="zh-CN" altLang="en-US" sz="3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</a:t>
            </a:r>
            <a:endParaRPr lang="en-US" altLang="zh-CN" sz="36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endParaRPr lang="en-US" altLang="zh-CN" sz="3600" b="1" dirty="0" smtClean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应聘</a:t>
            </a:r>
            <a:r>
              <a:rPr lang="zh-CN" altLang="en-US" sz="2400" b="1" dirty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人</a:t>
            </a:r>
            <a:r>
              <a:rPr lang="zh-CN" altLang="en-US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：   </a:t>
            </a:r>
            <a:endParaRPr lang="en-US" altLang="zh-CN" sz="24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2020</a:t>
            </a:r>
            <a:r>
              <a:rPr lang="zh-CN" altLang="en-US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zh-CN" altLang="en-US" sz="24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日</a:t>
            </a:r>
            <a:endParaRPr lang="zh-CN" altLang="en-US" sz="2400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70800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7544" y="915566"/>
            <a:ext cx="8280920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个人简介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聘岗位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认识和理解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工作业绩介绍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未来工作构想（重点介绍）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应聘岗位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责定位阐述未来工作目标、实现路径及未来</a:t>
            </a:r>
            <a:r>
              <a:rPr lang="en-US" altLang="zh-CN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~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工作</a:t>
            </a:r>
            <a:endParaRPr lang="en-US" altLang="zh-CN" kern="1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其他</a:t>
            </a:r>
            <a:endParaRPr lang="en-US" altLang="zh-CN" kern="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内容</a:t>
            </a:r>
            <a:endParaRPr lang="zh-CN" altLang="en-US" sz="2600" b="1" dirty="0" smtClean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0238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39749" y="791275"/>
            <a:ext cx="8064699" cy="1505027"/>
          </a:xfrm>
          <a:prstGeom prst="rect">
            <a:avLst/>
          </a:prstGeom>
          <a:noFill/>
          <a:ln w="9525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汇报时间不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提问交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正文材料控制在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重点突出，注意目视效果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要求</a:t>
            </a:r>
            <a:endParaRPr lang="zh-CN" altLang="en-US" sz="2600" b="1" dirty="0" smtClean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9727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3528" y="2139702"/>
            <a:ext cx="8229600" cy="857250"/>
          </a:xfrm>
        </p:spPr>
        <p:txBody>
          <a:bodyPr/>
          <a:lstStyle/>
          <a:p>
            <a:r>
              <a:rPr lang="zh-CN" altLang="en-US" sz="7200" b="1" dirty="0" smtClean="0">
                <a:latin typeface="微软雅黑" pitchFamily="34" charset="-122"/>
                <a:ea typeface="微软雅黑" pitchFamily="34" charset="-122"/>
              </a:rPr>
              <a:t>谢  谢</a:t>
            </a:r>
            <a:endParaRPr lang="zh-CN" altLang="en-US" sz="72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9679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5&quot;&gt;&lt;elem m_fUsage=&quot;4.74810391001754970000E+000&quot;&gt;&lt;m_ppcolschidx val=&quot;0&quot;/&gt;&lt;m_rgb r=&quot;0&quot; g=&quot;80&quot; b=&quot;0&quot;/&gt;&lt;m_nBrightness val=&quot;0&quot;/&gt;&lt;/elem&gt;&lt;elem m_fUsage=&quot;1.72900000000000010000E+000&quot;&gt;&lt;m_ppcolschidx val=&quot;0&quot;/&gt;&lt;m_rgb r=&quot;ae&quot; g=&quot;d4&quot; b=&quot;f8&quot;/&gt;&lt;m_nBrightness val=&quot;0&quot;/&gt;&lt;/elem&gt;&lt;elem m_fUsage=&quot;8.63271296912460070000E-001&quot;&gt;&lt;m_ppcolschidx val=&quot;0&quot;/&gt;&lt;m_rgb r=&quot;c0&quot; g=&quot;0&quot; b=&quot;0&quot;/&gt;&lt;m_nBrightness val=&quot;0&quot;/&gt;&lt;/elem&gt;&lt;elem m_fUsage=&quot;8.10000000000000050000E-001&quot;&gt;&lt;m_ppcolschidx val=&quot;0&quot;/&gt;&lt;m_rgb r=&quot;0&quot; g=&quot;23&quot; b=&quot;5a&quot;/&gt;&lt;m_nBrightness val=&quot;0&quot;/&gt;&lt;/elem&gt;&lt;elem m_fUsage=&quot;4.98773075396999220000E-001&quot;&gt;&lt;m_ppcolschidx val=&quot;0&quot;/&gt;&lt;m_rgb r=&quot;45&quot; g=&quot;b8&quot; b=&quot;e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1_Office 主题">
  <a:themeElements>
    <a:clrScheme name="1_Office 主题 3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FF0000"/>
      </a:accent2>
      <a:accent3>
        <a:srgbClr val="FFFFFF"/>
      </a:accent3>
      <a:accent4>
        <a:srgbClr val="000000"/>
      </a:accent4>
      <a:accent5>
        <a:srgbClr val="B2C1DB"/>
      </a:accent5>
      <a:accent6>
        <a:srgbClr val="E70000"/>
      </a:accent6>
      <a:hlink>
        <a:srgbClr val="0000FF"/>
      </a:hlink>
      <a:folHlink>
        <a:srgbClr val="FF0000"/>
      </a:folHlink>
    </a:clrScheme>
    <a:fontScheme name="1_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0jqejjx0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黑体" panose="02010609060101010101" pitchFamily="49" charset="-122"/>
            <a:ea typeface="黑体" panose="02010609060101010101" pitchFamily="49" charset="-122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7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151</TotalTime>
  <Words>103</Words>
  <Application>Microsoft Office PowerPoint</Application>
  <PresentationFormat>全屏显示(16:9)</PresentationFormat>
  <Paragraphs>17</Paragraphs>
  <Slides>4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0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15" baseType="lpstr">
      <vt:lpstr>1_Office 主题</vt:lpstr>
      <vt:lpstr>自定义设计方案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6_自定义设计方案</vt:lpstr>
      <vt:lpstr>7_Office 主题</vt:lpstr>
      <vt:lpstr>7_自定义设计方案</vt:lpstr>
      <vt:lpstr>think-cell Slide</vt:lpstr>
      <vt:lpstr>PowerPoint 演示文稿</vt:lpstr>
      <vt:lpstr>PowerPoint 演示文稿</vt:lpstr>
      <vt:lpstr>PowerPoint 演示文稿</vt:lpstr>
      <vt:lpstr>谢  谢</vt:lpstr>
    </vt:vector>
  </TitlesOfParts>
  <Company>微软中国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会议体制</dc:title>
  <dc:creator>高海中(集团-财务部-运营管理处)</dc:creator>
  <cp:lastModifiedBy>huangmj</cp:lastModifiedBy>
  <cp:revision>3565</cp:revision>
  <cp:lastPrinted>2020-04-09T01:33:45Z</cp:lastPrinted>
  <dcterms:created xsi:type="dcterms:W3CDTF">2016-10-26T06:56:00Z</dcterms:created>
  <dcterms:modified xsi:type="dcterms:W3CDTF">2020-05-29T06:5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135</vt:lpwstr>
  </property>
</Properties>
</file>